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289" r:id="rId2"/>
    <p:sldId id="293" r:id="rId3"/>
    <p:sldId id="371" r:id="rId4"/>
    <p:sldId id="380" r:id="rId5"/>
    <p:sldId id="342" r:id="rId6"/>
    <p:sldId id="353" r:id="rId7"/>
    <p:sldId id="382" r:id="rId8"/>
    <p:sldId id="357" r:id="rId9"/>
    <p:sldId id="361" r:id="rId10"/>
    <p:sldId id="348" r:id="rId11"/>
    <p:sldId id="344" r:id="rId12"/>
    <p:sldId id="377" r:id="rId13"/>
    <p:sldId id="343" r:id="rId14"/>
    <p:sldId id="372" r:id="rId15"/>
    <p:sldId id="378" r:id="rId16"/>
    <p:sldId id="362" r:id="rId17"/>
    <p:sldId id="339" r:id="rId18"/>
    <p:sldId id="381" r:id="rId19"/>
    <p:sldId id="257" r:id="rId20"/>
  </p:sldIdLst>
  <p:sldSz cx="12192000" cy="6858000"/>
  <p:notesSz cx="6858000" cy="9144000"/>
  <p:custDataLst>
    <p:tags r:id="rId23"/>
  </p:custDataLst>
  <p:defaultTextStyle>
    <a:defPPr>
      <a:defRPr lang="fi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0F0F0"/>
    <a:srgbClr val="117AA6"/>
    <a:srgbClr val="F5324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002" autoAdjust="0"/>
    <p:restoredTop sz="93457" autoAdjust="0"/>
  </p:normalViewPr>
  <p:slideViewPr>
    <p:cSldViewPr snapToGrid="0">
      <p:cViewPr varScale="1">
        <p:scale>
          <a:sx n="97" d="100"/>
          <a:sy n="97" d="100"/>
        </p:scale>
        <p:origin x="480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4828"/>
    </p:cViewPr>
  </p:sorterViewPr>
  <p:notesViewPr>
    <p:cSldViewPr snapToGrid="0">
      <p:cViewPr varScale="1">
        <p:scale>
          <a:sx n="94" d="100"/>
          <a:sy n="94" d="100"/>
        </p:scale>
        <p:origin x="4068" y="7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>
            <a:extLst>
              <a:ext uri="{FF2B5EF4-FFF2-40B4-BE49-F238E27FC236}">
                <a16:creationId xmlns:a16="http://schemas.microsoft.com/office/drawing/2014/main" id="{B04B9EBC-5D97-42BF-B6EB-8E1B9C43771A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>
            <a:extLst>
              <a:ext uri="{FF2B5EF4-FFF2-40B4-BE49-F238E27FC236}">
                <a16:creationId xmlns:a16="http://schemas.microsoft.com/office/drawing/2014/main" id="{BAE2037F-A1E2-4CCA-8629-3BDB2B3CEB19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A403F91-E352-4BC0-865E-00C4B778E8F4}" type="datetimeFigureOut">
              <a:rPr lang="fi-FI" smtClean="0"/>
              <a:t>20.3.2025</a:t>
            </a:fld>
            <a:endParaRPr lang="fi-FI"/>
          </a:p>
        </p:txBody>
      </p:sp>
      <p:sp>
        <p:nvSpPr>
          <p:cNvPr id="4" name="Alatunnisteen paikkamerkki 3">
            <a:extLst>
              <a:ext uri="{FF2B5EF4-FFF2-40B4-BE49-F238E27FC236}">
                <a16:creationId xmlns:a16="http://schemas.microsoft.com/office/drawing/2014/main" id="{314A672F-4E2F-4FD9-84E6-5C27D74926B6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5" name="Dian numeron paikkamerkki 4">
            <a:extLst>
              <a:ext uri="{FF2B5EF4-FFF2-40B4-BE49-F238E27FC236}">
                <a16:creationId xmlns:a16="http://schemas.microsoft.com/office/drawing/2014/main" id="{71937CE8-A32E-40B1-B45D-D4F2F4E5469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6A7C6AB-2EC7-448B-8841-68F14F13640A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78985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Ylätunnisteen paikkamerkki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3" name="Päivämäärän paikkamerkki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5B81401-98B2-4A2C-809B-B877EE2C7168}" type="datetimeFigureOut">
              <a:rPr lang="fi-FI" smtClean="0"/>
              <a:t>20.3.2025</a:t>
            </a:fld>
            <a:endParaRPr lang="fi-FI"/>
          </a:p>
        </p:txBody>
      </p:sp>
      <p:sp>
        <p:nvSpPr>
          <p:cNvPr id="4" name="Dian kuvan paikkamerkki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fi-FI"/>
          </a:p>
        </p:txBody>
      </p:sp>
      <p:sp>
        <p:nvSpPr>
          <p:cNvPr id="5" name="Huomautusten paikkamerkki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</a:p>
        </p:txBody>
      </p:sp>
      <p:sp>
        <p:nvSpPr>
          <p:cNvPr id="6" name="Alatunnisteen paikkamerkki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fi-FI"/>
          </a:p>
        </p:txBody>
      </p:sp>
      <p:sp>
        <p:nvSpPr>
          <p:cNvPr id="7" name="Dian numeron paikkamerkki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8EB9FF8-BAB1-4496-B899-A3D3A047A0D5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798042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Prajwaa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harjan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 Kuvateksti: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Guyanu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Maya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asnet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mala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rismjö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,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som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bland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annat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används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till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nepalesiska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 </a:t>
            </a:r>
            <a:r>
              <a:rPr lang="fi-FI" b="0" i="0" dirty="0" err="1">
                <a:solidFill>
                  <a:srgbClr val="242424"/>
                </a:solidFill>
                <a:effectLst/>
                <a:latin typeface="-apple-system"/>
              </a:rPr>
              <a:t>kringlor</a:t>
            </a:r>
            <a:r>
              <a:rPr lang="fi-FI" b="0" i="0" dirty="0">
                <a:solidFill>
                  <a:srgbClr val="242424"/>
                </a:solidFill>
                <a:effectLst/>
                <a:latin typeface="-apple-system"/>
              </a:rPr>
              <a:t>.</a:t>
            </a:r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317168040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Minna Havunen; </a:t>
            </a:r>
            <a:r>
              <a:rPr lang="fi-FI" dirty="0" err="1"/>
              <a:t>Kuva_Minna</a:t>
            </a:r>
            <a:r>
              <a:rPr lang="fi-FI" dirty="0"/>
              <a:t> </a:t>
            </a:r>
            <a:r>
              <a:rPr lang="fi-FI" dirty="0" err="1"/>
              <a:t>Havunen_Tansania_puu</a:t>
            </a:r>
            <a:r>
              <a:rPr lang="fi-FI" dirty="0"/>
              <a:t>_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6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264000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Ilkka Koivisto; TangKrang-koulu-kukkaniityn-keskella-IlkkaKoivisto-1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8704304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Upu Leppänen; Tao </a:t>
            </a:r>
            <a:r>
              <a:rPr lang="fi-FI" dirty="0" err="1"/>
              <a:t>Yanin</a:t>
            </a:r>
            <a:r>
              <a:rPr lang="fi-FI" dirty="0"/>
              <a:t> seurakunnan ruokajakelu (</a:t>
            </a:r>
            <a:r>
              <a:rPr lang="fi-FI" dirty="0" err="1"/>
              <a:t>Foodlink</a:t>
            </a:r>
            <a:r>
              <a:rPr lang="fi-FI" dirty="0"/>
              <a:t>) 2015, Hongkong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67156430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i-FI" dirty="0"/>
              <a:t>Kuva: Suomen Lähetysseura / Jan-Eerik Leppänen; ”HUNAN seurakuntatyö, koulutus 6.6.2016”</a:t>
            </a:r>
          </a:p>
          <a:p>
            <a:endParaRPr lang="fi-FI" dirty="0"/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7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409537270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Lantau</a:t>
            </a:r>
            <a:r>
              <a:rPr lang="fi-FI" dirty="0"/>
              <a:t>, Hongkong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8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76188100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Anna Peltonen; </a:t>
            </a:r>
            <a:r>
              <a:rPr lang="fi-FI" dirty="0" err="1"/>
              <a:t>Krousin</a:t>
            </a:r>
            <a:r>
              <a:rPr lang="fi-FI" dirty="0"/>
              <a:t> kylä, Kambodzh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0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24800723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Upu Leppänen; </a:t>
            </a:r>
            <a:r>
              <a:rPr lang="fi-FI" dirty="0" err="1"/>
              <a:t>Kep</a:t>
            </a:r>
            <a:r>
              <a:rPr lang="fi-FI" dirty="0"/>
              <a:t>, Kambodzha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1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33528784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Pirre Saario; Kaivo </a:t>
            </a:r>
            <a:r>
              <a:rPr lang="fi-FI" dirty="0" err="1"/>
              <a:t>Thiecknan</a:t>
            </a:r>
            <a:r>
              <a:rPr lang="fi-FI" dirty="0"/>
              <a:t> kylässä, Senegal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3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212824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an kuvan paikkamerkki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Huomautusten paikkamerkki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i-FI" dirty="0"/>
              <a:t>Kuva: Suomen Lähetysseura / Iiris Arjanne; SN801 </a:t>
            </a:r>
            <a:r>
              <a:rPr lang="fi-FI" dirty="0" err="1"/>
              <a:t>Latyr</a:t>
            </a:r>
            <a:r>
              <a:rPr lang="fi-FI" dirty="0"/>
              <a:t> </a:t>
            </a:r>
            <a:r>
              <a:rPr lang="fi-FI" dirty="0" err="1"/>
              <a:t>Dioufin</a:t>
            </a:r>
            <a:r>
              <a:rPr lang="fi-FI" dirty="0"/>
              <a:t> virkaanastujaiset ja jumalanpalvelus (71)</a:t>
            </a:r>
          </a:p>
        </p:txBody>
      </p:sp>
      <p:sp>
        <p:nvSpPr>
          <p:cNvPr id="4" name="Dian numeron paikkamerkki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8EB9FF8-BAB1-4496-B899-A3D3A047A0D5}" type="slidenum">
              <a:rPr lang="fi-FI" smtClean="0"/>
              <a:t>15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09922234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9.jpeg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5" Type="http://schemas.openxmlformats.org/officeDocument/2006/relationships/image" Target="../media/image10.jpeg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5" Type="http://schemas.openxmlformats.org/officeDocument/2006/relationships/image" Target="../media/image11.jpeg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5" Type="http://schemas.openxmlformats.org/officeDocument/2006/relationships/image" Target="../media/image12.jpeg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5" Type="http://schemas.openxmlformats.org/officeDocument/2006/relationships/image" Target="../media/image13.jpeg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5" Type="http://schemas.openxmlformats.org/officeDocument/2006/relationships/image" Target="../media/image14.jpeg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15.jpe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2.xml"/><Relationship Id="rId5" Type="http://schemas.openxmlformats.org/officeDocument/2006/relationships/image" Target="../media/image16.jpeg"/><Relationship Id="rId4" Type="http://schemas.openxmlformats.org/officeDocument/2006/relationships/image" Target="../media/image1.emf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3.xml"/><Relationship Id="rId5" Type="http://schemas.openxmlformats.org/officeDocument/2006/relationships/image" Target="../media/image17.jpeg"/><Relationship Id="rId4" Type="http://schemas.openxmlformats.org/officeDocument/2006/relationships/image" Target="../media/image1.emf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4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5.xml"/><Relationship Id="rId5" Type="http://schemas.openxmlformats.org/officeDocument/2006/relationships/image" Target="../media/image18.jpeg"/><Relationship Id="rId4" Type="http://schemas.openxmlformats.org/officeDocument/2006/relationships/image" Target="../media/image1.emf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6.xml"/><Relationship Id="rId5" Type="http://schemas.openxmlformats.org/officeDocument/2006/relationships/image" Target="../media/image19.jpeg"/><Relationship Id="rId4" Type="http://schemas.openxmlformats.org/officeDocument/2006/relationships/image" Target="../media/image1.emf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7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8.xml"/><Relationship Id="rId5" Type="http://schemas.openxmlformats.org/officeDocument/2006/relationships/image" Target="../media/image20.jpeg"/><Relationship Id="rId4" Type="http://schemas.openxmlformats.org/officeDocument/2006/relationships/image" Target="../media/image1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9.xml"/><Relationship Id="rId5" Type="http://schemas.openxmlformats.org/officeDocument/2006/relationships/image" Target="../media/image21.jpeg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1.xml"/><Relationship Id="rId5" Type="http://schemas.openxmlformats.org/officeDocument/2006/relationships/image" Target="../media/image22.jpeg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2.xml"/><Relationship Id="rId5" Type="http://schemas.openxmlformats.org/officeDocument/2006/relationships/image" Target="../media/image23.jpeg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3.xml"/><Relationship Id="rId5" Type="http://schemas.openxmlformats.org/officeDocument/2006/relationships/image" Target="../media/image24.jpeg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4.xml"/><Relationship Id="rId5" Type="http://schemas.openxmlformats.org/officeDocument/2006/relationships/image" Target="../media/image25.jpeg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5.xml"/><Relationship Id="rId5" Type="http://schemas.openxmlformats.org/officeDocument/2006/relationships/image" Target="../media/image26.jpeg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6.xml"/><Relationship Id="rId5" Type="http://schemas.openxmlformats.org/officeDocument/2006/relationships/image" Target="../media/image27.jpeg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7.xml"/><Relationship Id="rId5" Type="http://schemas.openxmlformats.org/officeDocument/2006/relationships/image" Target="../media/image28.jpeg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8.xml"/><Relationship Id="rId5" Type="http://schemas.openxmlformats.org/officeDocument/2006/relationships/image" Target="../media/image29.png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9.xml"/><Relationship Id="rId5" Type="http://schemas.openxmlformats.org/officeDocument/2006/relationships/image" Target="../media/image30.jpeg"/><Relationship Id="rId4" Type="http://schemas.openxmlformats.org/officeDocument/2006/relationships/image" Target="../media/image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0.xml"/><Relationship Id="rId5" Type="http://schemas.openxmlformats.org/officeDocument/2006/relationships/image" Target="../media/image31.jpe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5" Type="http://schemas.openxmlformats.org/officeDocument/2006/relationships/image" Target="../media/image6.jpeg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7.jpe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5" Type="http://schemas.openxmlformats.org/officeDocument/2006/relationships/image" Target="../media/image8.jpe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637053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 otsikoill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456349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ABFAD4-1674-4CF2-B45B-8A6AE3267E70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Tekstin paikkamerkki 2">
            <a:extLst>
              <a:ext uri="{FF2B5EF4-FFF2-40B4-BE49-F238E27FC236}">
                <a16:creationId xmlns:a16="http://schemas.microsoft.com/office/drawing/2014/main" id="{DB8E5AD2-AC49-41BF-8E8E-B9E708CF8BB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2612570" y="1825625"/>
            <a:ext cx="435684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82673EF-6749-45FF-934F-521AB8AF89D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123099" y="1825625"/>
            <a:ext cx="435684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13" name="Sisällön paikkamerkki 3">
            <a:extLst>
              <a:ext uri="{FF2B5EF4-FFF2-40B4-BE49-F238E27FC236}">
                <a16:creationId xmlns:a16="http://schemas.microsoft.com/office/drawing/2014/main" id="{144CFA57-DA64-4D38-8D84-371526158F67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14" name="Sisällön paikkamerkki 3">
            <a:extLst>
              <a:ext uri="{FF2B5EF4-FFF2-40B4-BE49-F238E27FC236}">
                <a16:creationId xmlns:a16="http://schemas.microsoft.com/office/drawing/2014/main" id="{EA4B8D27-0B6D-4D93-BEA3-C8D021A54D4C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2649537"/>
            <a:ext cx="4356848" cy="3527426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8513704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960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56E71187-36AE-484F-BB17-5AEC7FEC5FA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43676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9726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F0B70832-C857-4352-9AB3-07B0CEC30C8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0598766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945936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69DB39D1-E9DE-4768-B8E5-E053B3D95256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948073289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44934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 descr="Kuva, joka sisältää kohteen projektori&#10;&#10;Kuvaus luotu automaattisesti">
            <a:extLst>
              <a:ext uri="{FF2B5EF4-FFF2-40B4-BE49-F238E27FC236}">
                <a16:creationId xmlns:a16="http://schemas.microsoft.com/office/drawing/2014/main" id="{1F6A6F5A-2B5A-4C9F-8B1D-C8C1B4F6F11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78799685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Väliotsikko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52627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7D072600-72AA-43DA-A6A5-4467A400B24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216803"/>
          </a:xfrm>
        </p:spPr>
        <p:txBody>
          <a:bodyPr vert="horz" anchor="b">
            <a:normAutofit/>
          </a:bodyPr>
          <a:lstStyle>
            <a:lvl1pPr algn="ctr">
              <a:defRPr sz="44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245469"/>
            <a:ext cx="10515600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67694899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1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6971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1CB9458-F8AF-497E-9F81-AD036D03DEDB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6940445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57512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nuoli&#10;&#10;Kuvaus luotu automaattisesti">
            <a:extLst>
              <a:ext uri="{FF2B5EF4-FFF2-40B4-BE49-F238E27FC236}">
                <a16:creationId xmlns:a16="http://schemas.microsoft.com/office/drawing/2014/main" id="{1076E750-FB3F-4D51-A144-AEF6A57EDC2B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7009661-B6A2-4FCB-BD74-92B50AB3778C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E89924-14C9-4296-ABC7-EBBCD552A6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15A44A2E-E5B2-4E04-80E5-5944B427B09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347655081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1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11290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A64F9AF8-C832-478A-829F-2E210CB7E81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6AAAD7-C136-4D1E-AF2E-19C7BA22B24F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49921026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2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11391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27A65451-5E9A-4362-B56B-472B5EC62E1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2627017-FB81-4058-9ED0-07FC92AC8426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2906428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uorakulmio 1">
            <a:extLst>
              <a:ext uri="{FF2B5EF4-FFF2-40B4-BE49-F238E27FC236}">
                <a16:creationId xmlns:a16="http://schemas.microsoft.com/office/drawing/2014/main" id="{DA6B326B-05AA-ED4E-C5D0-E67120EE64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3" name="Suorakulmio 2">
            <a:extLst>
              <a:ext uri="{FF2B5EF4-FFF2-40B4-BE49-F238E27FC236}">
                <a16:creationId xmlns:a16="http://schemas.microsoft.com/office/drawing/2014/main" id="{55DA76B5-D7F4-A810-3D21-836E92107A21}"/>
              </a:ext>
            </a:extLst>
          </p:cNvPr>
          <p:cNvSpPr/>
          <p:nvPr userDrawn="1"/>
        </p:nvSpPr>
        <p:spPr>
          <a:xfrm>
            <a:off x="0" y="-2"/>
            <a:ext cx="12192002" cy="6912593"/>
          </a:xfrm>
          <a:prstGeom prst="rect">
            <a:avLst/>
          </a:prstGeom>
          <a:solidFill>
            <a:srgbClr val="117AA6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dirty="0"/>
          </a:p>
        </p:txBody>
      </p:sp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02006" y="1858282"/>
            <a:ext cx="7301552" cy="2713718"/>
          </a:xfrm>
        </p:spPr>
        <p:txBody>
          <a:bodyPr>
            <a:normAutofit/>
          </a:bodyPr>
          <a:lstStyle>
            <a:lvl1pPr marL="0" indent="0" algn="ct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409700" y="1054554"/>
            <a:ext cx="9051631" cy="554236"/>
          </a:xfrm>
        </p:spPr>
        <p:txBody>
          <a:bodyPr vert="horz" anchor="b">
            <a:normAutofit/>
          </a:bodyPr>
          <a:lstStyle>
            <a:lvl1pPr algn="ctr">
              <a:defRPr sz="4000" b="1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06A2DB6-8804-DC7D-25B7-A81DAC7CF3E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557"/>
          <a:stretch/>
        </p:blipFill>
        <p:spPr>
          <a:xfrm>
            <a:off x="0" y="4408198"/>
            <a:ext cx="12192000" cy="250439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104604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07310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>
            <a:extLst>
              <a:ext uri="{FF2B5EF4-FFF2-40B4-BE49-F238E27FC236}">
                <a16:creationId xmlns:a16="http://schemas.microsoft.com/office/drawing/2014/main" id="{BC0B16E9-3EA2-4500-8BB5-B551C527566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AE43D5-4913-4B12-8F1A-D77C9E7C951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053A0229-BAFC-4889-A089-6AEF35F3A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6350BE49-FFA0-4D9E-B58E-CD5AA20BE06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20023524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2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693616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0B3FA059-4826-40F7-A69B-9938401E2EB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6BA3C4-84FB-423B-A833-1DD13600A86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9842244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3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66587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7FDD56A1-7DDE-49A6-9567-FDDE69B065D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1AB70B-7C2E-4009-96C2-C9329400CE93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1107468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720272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 14">
            <a:extLst>
              <a:ext uri="{FF2B5EF4-FFF2-40B4-BE49-F238E27FC236}">
                <a16:creationId xmlns:a16="http://schemas.microsoft.com/office/drawing/2014/main" id="{259B10F8-B6DC-4B68-998C-8044E40EBE0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CAB408-7E6A-4561-A965-EDE232A4655D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27469943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3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1677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C9CF7A8C-CE21-4C7A-A00A-F77810DA90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49925B-DA76-45EB-B569-214FB920AC23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39499598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4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897874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Kuva 11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7376913-E50E-4387-9E96-C5E04E43BF0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D3A492-0714-4886-B211-87CBBA09BAA6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79979251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740422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nuoli&#10;&#10;Kuvaus luotu automaattisesti">
            <a:extLst>
              <a:ext uri="{FF2B5EF4-FFF2-40B4-BE49-F238E27FC236}">
                <a16:creationId xmlns:a16="http://schemas.microsoft.com/office/drawing/2014/main" id="{8129CBB7-CA95-4DB5-BA28-C36DB59D895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9DBCB3-DE3E-4E88-A776-8A852B77D7ED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425242328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4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836127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2D9143B0-048A-4677-98A2-9C8E5C0077F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726563-8E94-456C-AB1A-BC730F03108B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380069139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Aihealue 5 esitte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95586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Kuva 7">
            <a:extLst>
              <a:ext uri="{FF2B5EF4-FFF2-40B4-BE49-F238E27FC236}">
                <a16:creationId xmlns:a16="http://schemas.microsoft.com/office/drawing/2014/main" id="{4945E664-5DB1-4537-B836-CD53F16D6C5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C669CD8F-BDD7-42AA-9AF6-6FF3EB24AD3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46797" y="1558131"/>
            <a:ext cx="5217458" cy="45100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5EF5945F-1688-4B32-B656-6066645BE42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655EB4-BFD9-4BD5-B3DE-197159AF66A2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107779271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kuv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2029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>
            <a:extLst>
              <a:ext uri="{FF2B5EF4-FFF2-40B4-BE49-F238E27FC236}">
                <a16:creationId xmlns:a16="http://schemas.microsoft.com/office/drawing/2014/main" id="{9FCF73B0-126B-453B-9EA7-F5AB6B42322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3F45808-44CB-4246-A8C2-12D8E3391149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0" name="Kuvan paikkamerkki 2">
            <a:extLst>
              <a:ext uri="{FF2B5EF4-FFF2-40B4-BE49-F238E27FC236}">
                <a16:creationId xmlns:a16="http://schemas.microsoft.com/office/drawing/2014/main" id="{46CC77EB-CB58-41DF-BB8A-F8FD11EA616A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6362380" y="1337023"/>
            <a:ext cx="5532504" cy="487936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fi-FI"/>
              <a:t>Lisää kuva napsauttamalla kuvaketta</a:t>
            </a:r>
          </a:p>
        </p:txBody>
      </p:sp>
      <p:sp>
        <p:nvSpPr>
          <p:cNvPr id="13" name="Otsikko 1">
            <a:extLst>
              <a:ext uri="{FF2B5EF4-FFF2-40B4-BE49-F238E27FC236}">
                <a16:creationId xmlns:a16="http://schemas.microsoft.com/office/drawing/2014/main" id="{D3138AF5-5CEC-4AE0-BE62-910C1F3B13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1585119"/>
            <a:ext cx="5217458" cy="1600200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14" name="Tekstin paikkamerkki 3">
            <a:extLst>
              <a:ext uri="{FF2B5EF4-FFF2-40B4-BE49-F238E27FC236}">
                <a16:creationId xmlns:a16="http://schemas.microsoft.com/office/drawing/2014/main" id="{775952BB-93C9-4F88-A388-BBDC5FBA896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3429000"/>
            <a:ext cx="5256212" cy="2439987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51898985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Kuva 2" descr="Kuva, joka sisältää kohteen henkilö, seinä, seisominen, sininen&#10;&#10;Kuvaus luotu automaattisesti">
            <a:extLst>
              <a:ext uri="{FF2B5EF4-FFF2-40B4-BE49-F238E27FC236}">
                <a16:creationId xmlns:a16="http://schemas.microsoft.com/office/drawing/2014/main" id="{80D85BD0-2F8F-4762-B2DB-FA172DDF23E7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Alaotsikko 2">
            <a:extLst>
              <a:ext uri="{FF2B5EF4-FFF2-40B4-BE49-F238E27FC236}">
                <a16:creationId xmlns:a16="http://schemas.microsoft.com/office/drawing/2014/main" id="{9DB31F58-7512-4C02-B754-EF977BCAB0D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7630244" y="3802314"/>
            <a:ext cx="3993137" cy="1613647"/>
          </a:xfrm>
        </p:spPr>
        <p:txBody>
          <a:bodyPr>
            <a:normAutofit/>
          </a:bodyPr>
          <a:lstStyle>
            <a:lvl1pPr marL="0" indent="0" algn="r">
              <a:buNone/>
              <a:defRPr sz="20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sp>
        <p:nvSpPr>
          <p:cNvPr id="7" name="Otsikko 1">
            <a:extLst>
              <a:ext uri="{FF2B5EF4-FFF2-40B4-BE49-F238E27FC236}">
                <a16:creationId xmlns:a16="http://schemas.microsoft.com/office/drawing/2014/main" id="{46F23E10-3027-48D9-BA5D-0A9A13FDAD3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046258" y="1328057"/>
            <a:ext cx="4577123" cy="2034348"/>
          </a:xfrm>
        </p:spPr>
        <p:txBody>
          <a:bodyPr vert="horz" anchor="b">
            <a:normAutofit/>
          </a:bodyPr>
          <a:lstStyle>
            <a:lvl1pPr algn="r">
              <a:defRPr sz="44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92513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uora yhdysviiva 5">
            <a:extLst>
              <a:ext uri="{FF2B5EF4-FFF2-40B4-BE49-F238E27FC236}">
                <a16:creationId xmlns:a16="http://schemas.microsoft.com/office/drawing/2014/main" id="{179E9D39-75CF-430E-A0F1-7DEE53DD25E3}"/>
              </a:ext>
            </a:extLst>
          </p:cNvPr>
          <p:cNvCxnSpPr>
            <a:cxnSpLocks/>
          </p:cNvCxnSpPr>
          <p:nvPr userDrawn="1"/>
        </p:nvCxnSpPr>
        <p:spPr>
          <a:xfrm>
            <a:off x="9091101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1016331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ihealue 5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kti 10" hidden="1">
            <a:extLst>
              <a:ext uri="{FF2B5EF4-FFF2-40B4-BE49-F238E27FC236}">
                <a16:creationId xmlns:a16="http://schemas.microsoft.com/office/drawing/2014/main" id="{52DEC108-47D7-4F92-843B-F57323B43D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60163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1" name="Objekti 10" hidden="1">
                        <a:extLst>
                          <a:ext uri="{FF2B5EF4-FFF2-40B4-BE49-F238E27FC236}">
                            <a16:creationId xmlns:a16="http://schemas.microsoft.com/office/drawing/2014/main" id="{52DEC108-47D7-4F92-843B-F57323B43D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Kuva 3">
            <a:extLst>
              <a:ext uri="{FF2B5EF4-FFF2-40B4-BE49-F238E27FC236}">
                <a16:creationId xmlns:a16="http://schemas.microsoft.com/office/drawing/2014/main" id="{1B3519DA-7254-4EAF-94F9-707A1108726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6659C3CD-61DB-4CA2-88A4-0456693A3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7115" y="475287"/>
            <a:ext cx="8086165" cy="1027452"/>
          </a:xfrm>
        </p:spPr>
        <p:txBody>
          <a:bodyPr vert="horz" anchor="b"/>
          <a:lstStyle>
            <a:lvl1pPr>
              <a:defRPr sz="3200"/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BF08346C-3027-4659-98F2-DA37AC62F68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2B7124-2A20-4688-9892-F5411985B26C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CFECC52D-33B2-410B-88A2-063646F486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4" name="Sisällön paikkamerkki 2">
            <a:extLst>
              <a:ext uri="{FF2B5EF4-FFF2-40B4-BE49-F238E27FC236}">
                <a16:creationId xmlns:a16="http://schemas.microsoft.com/office/drawing/2014/main" id="{A2B04B33-38DD-4CC1-8DCE-677863C2C09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360073" y="1859536"/>
            <a:ext cx="9443677" cy="440292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06886603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osto/sitaatti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82983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AC71C887-6855-4E89-A710-FEA8506D6DB1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DAF4B4D6-5833-4596-A636-85E115B8A8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854D1DEC-35F5-4F72-BC80-C2810954C0FB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</p:spTree>
    <p:extLst>
      <p:ext uri="{BB962C8B-B14F-4D97-AF65-F5344CB8AC3E}">
        <p14:creationId xmlns:p14="http://schemas.microsoft.com/office/powerpoint/2010/main" val="172837998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778181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C1413E65-1FC2-4106-AEF1-A00456FD8D3F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E6E2ED78-3D5B-473F-BCF0-111548C534FC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6D2A48F-A03B-4638-8B46-A1FCCA31D14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0447718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37677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716E8CF5-015C-4FD3-8BB0-502BF8975EA0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4A029B14-B9A6-465C-AEAD-B0E93AB26C57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6CF60A3C-77A3-4EFA-AFCA-36D7D38505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424017428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362023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>
            <a:extLst>
              <a:ext uri="{FF2B5EF4-FFF2-40B4-BE49-F238E27FC236}">
                <a16:creationId xmlns:a16="http://schemas.microsoft.com/office/drawing/2014/main" id="{1AE60BC4-2E88-4DC5-BEA2-177F4586E08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973D34D3-FF24-4809-8B1B-CCA9358AD978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>
                    <a:lumMod val="8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C729F224-95F0-4AA3-BC77-5EB1336B01E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158576434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sto/sitaatti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87324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07BD73EF-DFB1-4164-B80E-F01AD87721BC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kstin paikkamerkki 2">
            <a:extLst>
              <a:ext uri="{FF2B5EF4-FFF2-40B4-BE49-F238E27FC236}">
                <a16:creationId xmlns:a16="http://schemas.microsoft.com/office/drawing/2014/main" id="{FF7D5B88-F627-46DD-8F5F-B0121EC06542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2362547" y="4245469"/>
            <a:ext cx="7466906" cy="983556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i-FI" dirty="0"/>
              <a:t>– Sitaatin lähde</a:t>
            </a:r>
          </a:p>
        </p:txBody>
      </p:sp>
      <p:sp>
        <p:nvSpPr>
          <p:cNvPr id="12" name="Otsikko 1">
            <a:extLst>
              <a:ext uri="{FF2B5EF4-FFF2-40B4-BE49-F238E27FC236}">
                <a16:creationId xmlns:a16="http://schemas.microsoft.com/office/drawing/2014/main" id="{0B051EC7-E656-4E75-891D-E9117789F8B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283677" y="1702054"/>
            <a:ext cx="9653954" cy="2216803"/>
          </a:xfrm>
        </p:spPr>
        <p:txBody>
          <a:bodyPr vert="horz" anchor="b">
            <a:normAutofit/>
          </a:bodyPr>
          <a:lstStyle>
            <a:lvl1pPr algn="ctr">
              <a:defRPr sz="4000" b="0"/>
            </a:lvl1pPr>
          </a:lstStyle>
          <a:p>
            <a:r>
              <a:rPr lang="fi-FI" dirty="0"/>
              <a:t>”Nosto tai sitaatti sopii tähän paikkaan hyvin”</a:t>
            </a:r>
          </a:p>
        </p:txBody>
      </p:sp>
    </p:spTree>
    <p:extLst>
      <p:ext uri="{BB962C8B-B14F-4D97-AF65-F5344CB8AC3E}">
        <p14:creationId xmlns:p14="http://schemas.microsoft.com/office/powerpoint/2010/main" val="313756941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54198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A64BDFE0-23FD-4FB9-868E-275C440A977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56061" y="2349000"/>
            <a:ext cx="2489314" cy="21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195902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654564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Kuva 2" descr="Kuva, joka sisältää kohteen teksti&#10;&#10;Kuvaus luotu automaattisesti">
            <a:extLst>
              <a:ext uri="{FF2B5EF4-FFF2-40B4-BE49-F238E27FC236}">
                <a16:creationId xmlns:a16="http://schemas.microsoft.com/office/drawing/2014/main" id="{F259D9A4-6AF6-4C23-A391-60D757A78FE2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19228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ppu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0CF9C1FA-6A06-4007-AABB-7976BA533D7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526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0CF9C1FA-6A06-4007-AABB-7976BA533D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2D5528BD-CFA5-4BDD-A809-8999A6D97C1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786063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98619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Kuva 8" descr="Kuva, joka sisältää kohteen henkilö, ulko, poika, nuori&#10;&#10;Kuvaus luotu automaattisesti">
            <a:extLst>
              <a:ext uri="{FF2B5EF4-FFF2-40B4-BE49-F238E27FC236}">
                <a16:creationId xmlns:a16="http://schemas.microsoft.com/office/drawing/2014/main" id="{D3579580-2FD9-4929-825A-30B349E6A5E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406178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711387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11" name="Suora yhdysviiva 10">
            <a:extLst>
              <a:ext uri="{FF2B5EF4-FFF2-40B4-BE49-F238E27FC236}">
                <a16:creationId xmlns:a16="http://schemas.microsoft.com/office/drawing/2014/main" id="{9D21BD7C-487C-4713-A7A3-47CD927F5D03}"/>
              </a:ext>
            </a:extLst>
          </p:cNvPr>
          <p:cNvCxnSpPr>
            <a:cxnSpLocks/>
          </p:cNvCxnSpPr>
          <p:nvPr userDrawn="1"/>
        </p:nvCxnSpPr>
        <p:spPr>
          <a:xfrm>
            <a:off x="672576" y="3574473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683687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453279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 5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8189FA21-91AF-4438-A231-043FFBDF0AAE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563495" y="1682802"/>
            <a:ext cx="4577123" cy="2034348"/>
          </a:xfrm>
        </p:spPr>
        <p:txBody>
          <a:bodyPr vert="horz" anchor="b">
            <a:normAutofit/>
          </a:bodyPr>
          <a:lstStyle>
            <a:lvl1pPr algn="l">
              <a:defRPr sz="4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563495" y="3988011"/>
            <a:ext cx="3993137" cy="1613647"/>
          </a:xfrm>
        </p:spPr>
        <p:txBody>
          <a:bodyPr>
            <a:normAutofit/>
          </a:bodyPr>
          <a:lstStyle>
            <a:lvl1pPr marL="0" indent="0" algn="l">
              <a:buNone/>
              <a:defRPr sz="2000">
                <a:solidFill>
                  <a:schemeClr val="bg1">
                    <a:lumMod val="9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245E15B8-9654-43AE-AC81-8C1D900AD564}"/>
              </a:ext>
            </a:extLst>
          </p:cNvPr>
          <p:cNvCxnSpPr>
            <a:cxnSpLocks/>
          </p:cNvCxnSpPr>
          <p:nvPr userDrawn="1"/>
        </p:nvCxnSpPr>
        <p:spPr>
          <a:xfrm>
            <a:off x="672576" y="3853956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765821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Otsikkodia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i 9" hidden="1">
            <a:extLst>
              <a:ext uri="{FF2B5EF4-FFF2-40B4-BE49-F238E27FC236}">
                <a16:creationId xmlns:a16="http://schemas.microsoft.com/office/drawing/2014/main" id="{E7A2CFC2-B7A4-4F8F-9F82-B7CA1A016BA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104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kti 9" hidden="1">
                        <a:extLst>
                          <a:ext uri="{FF2B5EF4-FFF2-40B4-BE49-F238E27FC236}">
                            <a16:creationId xmlns:a16="http://schemas.microsoft.com/office/drawing/2014/main" id="{E7A2CFC2-B7A4-4F8F-9F82-B7CA1A016B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Kuva 4">
            <a:extLst>
              <a:ext uri="{FF2B5EF4-FFF2-40B4-BE49-F238E27FC236}">
                <a16:creationId xmlns:a16="http://schemas.microsoft.com/office/drawing/2014/main" id="{B7054C96-6274-4344-8F1C-9D8B3F9EBDE8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71AB034B-6E7E-4993-86B1-F0CF3D6AA6C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591089"/>
            <a:ext cx="9144000" cy="2387600"/>
          </a:xfrm>
        </p:spPr>
        <p:txBody>
          <a:bodyPr vert="horz" anchor="b">
            <a:normAutofit/>
          </a:bodyPr>
          <a:lstStyle>
            <a:lvl1pPr algn="ctr">
              <a:defRPr sz="54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Alaotsikko 2">
            <a:extLst>
              <a:ext uri="{FF2B5EF4-FFF2-40B4-BE49-F238E27FC236}">
                <a16:creationId xmlns:a16="http://schemas.microsoft.com/office/drawing/2014/main" id="{FE324253-C421-4608-9A39-FF85305E87A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4395267"/>
            <a:ext cx="9144000" cy="1566590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i-FI" dirty="0"/>
              <a:t>Muokkaa alaotsikon perustyyliä napsauttamalla</a:t>
            </a:r>
          </a:p>
        </p:txBody>
      </p:sp>
      <p:cxnSp>
        <p:nvCxnSpPr>
          <p:cNvPr id="9" name="Suora yhdysviiva 8">
            <a:extLst>
              <a:ext uri="{FF2B5EF4-FFF2-40B4-BE49-F238E27FC236}">
                <a16:creationId xmlns:a16="http://schemas.microsoft.com/office/drawing/2014/main" id="{E4DA1EC6-FD96-4315-9EBD-2928B8B679DF}"/>
              </a:ext>
            </a:extLst>
          </p:cNvPr>
          <p:cNvCxnSpPr>
            <a:cxnSpLocks/>
          </p:cNvCxnSpPr>
          <p:nvPr userDrawn="1"/>
        </p:nvCxnSpPr>
        <p:spPr>
          <a:xfrm>
            <a:off x="4898211" y="4194149"/>
            <a:ext cx="2395577" cy="0"/>
          </a:xfrm>
          <a:prstGeom prst="line">
            <a:avLst/>
          </a:prstGeom>
          <a:ln w="19050">
            <a:solidFill>
              <a:schemeClr val="bg1">
                <a:lumMod val="8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206309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sisältö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83BC1A8A-A3C3-4DC4-A71B-238228D24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247596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83BC1A8A-A3C3-4DC4-A71B-238228D24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Kuva 9">
            <a:extLst>
              <a:ext uri="{FF2B5EF4-FFF2-40B4-BE49-F238E27FC236}">
                <a16:creationId xmlns:a16="http://schemas.microsoft.com/office/drawing/2014/main" id="{13994B2C-6ECC-4E39-B141-20CC0B17B37D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3F7BCA4F-9062-4B46-9FA2-755EDD857C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1468" y="1830722"/>
            <a:ext cx="5018363" cy="1642460"/>
          </a:xfrm>
        </p:spPr>
        <p:txBody>
          <a:bodyPr vert="horz" anchor="b"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3" name="Sisällön paikkamerkki 2">
            <a:extLst>
              <a:ext uri="{FF2B5EF4-FFF2-40B4-BE49-F238E27FC236}">
                <a16:creationId xmlns:a16="http://schemas.microsoft.com/office/drawing/2014/main" id="{8B774BBC-BD18-4C6B-B972-A50EF26B2F5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754266" y="701702"/>
            <a:ext cx="4856309" cy="5454597"/>
          </a:xfrm>
        </p:spPr>
        <p:txBody>
          <a:bodyPr anchor="ctr"/>
          <a:lstStyle>
            <a:lvl4pPr>
              <a:defRPr/>
            </a:lvl4pPr>
          </a:lstStyle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CF5B6CC3-33F4-4CC1-81A3-6A2EC0F72F05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9244533" y="143813"/>
            <a:ext cx="2743200" cy="365125"/>
          </a:xfrm>
        </p:spPr>
        <p:txBody>
          <a:bodyPr/>
          <a:lstStyle>
            <a:lvl1pPr algn="r">
              <a:defRPr/>
            </a:lvl1pPr>
          </a:lstStyle>
          <a:p>
            <a:fld id="{C195E768-76B1-434E-9289-2595ECCB79C4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15" name="Dian numeron paikkamerkki 5">
            <a:extLst>
              <a:ext uri="{FF2B5EF4-FFF2-40B4-BE49-F238E27FC236}">
                <a16:creationId xmlns:a16="http://schemas.microsoft.com/office/drawing/2014/main" id="{484D391B-6EFF-4180-9E7A-334F2CB52EDE}"/>
              </a:ext>
            </a:extLst>
          </p:cNvPr>
          <p:cNvSpPr txBox="1">
            <a:spLocks/>
          </p:cNvSpPr>
          <p:nvPr userDrawn="1"/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fi-FI"/>
            </a:defPPr>
            <a:lvl1pPr marL="0" algn="r" defTabSz="914400" rtl="0" eaLnBrk="1" latinLnBrk="0" hangingPunct="1">
              <a:defRPr sz="1100" kern="12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/>
          </a:p>
        </p:txBody>
      </p:sp>
      <p:sp>
        <p:nvSpPr>
          <p:cNvPr id="13" name="Tekstin paikkamerkki 3">
            <a:extLst>
              <a:ext uri="{FF2B5EF4-FFF2-40B4-BE49-F238E27FC236}">
                <a16:creationId xmlns:a16="http://schemas.microsoft.com/office/drawing/2014/main" id="{EF4AC885-2B1D-41F5-80AC-E7E8B389265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661468" y="3622431"/>
            <a:ext cx="5018363" cy="2246556"/>
          </a:xfrm>
        </p:spPr>
        <p:txBody>
          <a:bodyPr/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fi-FI"/>
              <a:t>Muokkaa tekstin perustyylejä napsauttamalla</a:t>
            </a:r>
          </a:p>
        </p:txBody>
      </p:sp>
    </p:spTree>
    <p:extLst>
      <p:ext uri="{BB962C8B-B14F-4D97-AF65-F5344CB8AC3E}">
        <p14:creationId xmlns:p14="http://schemas.microsoft.com/office/powerpoint/2010/main" val="142694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tsikko ja tek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53227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741230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2612570" y="1825625"/>
            <a:ext cx="8741230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89FD0A6-F645-4688-BBAF-B521945A26F4}" type="datetime1">
              <a:rPr lang="fi-FI" smtClean="0"/>
              <a:t>20.3.2025</a:t>
            </a:fld>
            <a:endParaRPr lang="fi-FI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</p:spTree>
    <p:extLst>
      <p:ext uri="{BB962C8B-B14F-4D97-AF65-F5344CB8AC3E}">
        <p14:creationId xmlns:p14="http://schemas.microsoft.com/office/powerpoint/2010/main" val="39174702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ksi palsta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i 8" hidden="1">
            <a:extLst>
              <a:ext uri="{FF2B5EF4-FFF2-40B4-BE49-F238E27FC236}">
                <a16:creationId xmlns:a16="http://schemas.microsoft.com/office/drawing/2014/main" id="{A2EB52E3-091E-48B2-95E9-F5946A3DA1A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733694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9" name="Objekti 8" hidden="1">
                        <a:extLst>
                          <a:ext uri="{FF2B5EF4-FFF2-40B4-BE49-F238E27FC236}">
                            <a16:creationId xmlns:a16="http://schemas.microsoft.com/office/drawing/2014/main" id="{A2EB52E3-091E-48B2-95E9-F5946A3DA1A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Otsikko 1">
            <a:extLst>
              <a:ext uri="{FF2B5EF4-FFF2-40B4-BE49-F238E27FC236}">
                <a16:creationId xmlns:a16="http://schemas.microsoft.com/office/drawing/2014/main" id="{B29314DA-98A5-4262-A9C8-D5D86896BA7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12571" y="681037"/>
            <a:ext cx="8867376" cy="1009651"/>
          </a:xfrm>
        </p:spPr>
        <p:txBody>
          <a:bodyPr vert="horz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r>
              <a:rPr lang="fi-FI"/>
              <a:t>Muokkaa ots. perustyyl. napsautt.</a:t>
            </a:r>
            <a:endParaRPr lang="fi-FI" dirty="0"/>
          </a:p>
        </p:txBody>
      </p:sp>
      <p:sp>
        <p:nvSpPr>
          <p:cNvPr id="4" name="Sisällön paikkamerkki 3">
            <a:extLst>
              <a:ext uri="{FF2B5EF4-FFF2-40B4-BE49-F238E27FC236}">
                <a16:creationId xmlns:a16="http://schemas.microsoft.com/office/drawing/2014/main" id="{CC217645-96B5-47AF-95C0-032F69900F9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7123099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  <p:sp>
        <p:nvSpPr>
          <p:cNvPr id="5" name="Päivämäärän paikkamerkki 4">
            <a:extLst>
              <a:ext uri="{FF2B5EF4-FFF2-40B4-BE49-F238E27FC236}">
                <a16:creationId xmlns:a16="http://schemas.microsoft.com/office/drawing/2014/main" id="{C7154BA3-917A-4F4B-ADE2-393E19B8A94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56A09B5-4BD5-4BED-8EEC-68F2A4ACDD07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7" name="Dian numeron paikkamerkki 6">
            <a:extLst>
              <a:ext uri="{FF2B5EF4-FFF2-40B4-BE49-F238E27FC236}">
                <a16:creationId xmlns:a16="http://schemas.microsoft.com/office/drawing/2014/main" id="{85849B10-4B22-4250-AD0E-D9C33404C27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6B37718-6688-4F18-A3A4-5BFEA6AE51A8}" type="slidenum">
              <a:rPr lang="fi-FI" smtClean="0"/>
              <a:t>‹#›</a:t>
            </a:fld>
            <a:endParaRPr lang="fi-FI"/>
          </a:p>
        </p:txBody>
      </p:sp>
      <p:sp>
        <p:nvSpPr>
          <p:cNvPr id="11" name="Sisällön paikkamerkki 3">
            <a:extLst>
              <a:ext uri="{FF2B5EF4-FFF2-40B4-BE49-F238E27FC236}">
                <a16:creationId xmlns:a16="http://schemas.microsoft.com/office/drawing/2014/main" id="{4FFC9929-2D4B-4FA7-A3FA-B826124BFBE4}"/>
              </a:ext>
            </a:extLst>
          </p:cNvPr>
          <p:cNvSpPr>
            <a:spLocks noGrp="1"/>
          </p:cNvSpPr>
          <p:nvPr>
            <p:ph sz="half" idx="13"/>
          </p:nvPr>
        </p:nvSpPr>
        <p:spPr>
          <a:xfrm>
            <a:off x="2612570" y="1825625"/>
            <a:ext cx="4356848" cy="4351338"/>
          </a:xfrm>
        </p:spPr>
        <p:txBody>
          <a:bodyPr/>
          <a:lstStyle/>
          <a:p>
            <a:pPr lvl="0"/>
            <a:r>
              <a:rPr lang="fi-FI"/>
              <a:t>Muokkaa tekstin perustyylejä napsauttamalla</a:t>
            </a:r>
          </a:p>
          <a:p>
            <a:pPr lvl="1"/>
            <a:r>
              <a:rPr lang="fi-FI"/>
              <a:t>toinen taso</a:t>
            </a:r>
          </a:p>
          <a:p>
            <a:pPr lvl="2"/>
            <a:r>
              <a:rPr lang="fi-FI"/>
              <a:t>kolmas taso</a:t>
            </a:r>
          </a:p>
          <a:p>
            <a:pPr lvl="3"/>
            <a:r>
              <a:rPr lang="fi-FI"/>
              <a:t>neljäs taso</a:t>
            </a:r>
          </a:p>
          <a:p>
            <a:pPr lvl="4"/>
            <a:r>
              <a:rPr lang="fi-FI"/>
              <a:t>viides taso</a:t>
            </a:r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236185859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2.jpeg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i 7" hidden="1">
            <a:extLst>
              <a:ext uri="{FF2B5EF4-FFF2-40B4-BE49-F238E27FC236}">
                <a16:creationId xmlns:a16="http://schemas.microsoft.com/office/drawing/2014/main" id="{99A5D101-E9BB-4459-960C-90D85F6203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0"/>
            </p:custDataLst>
            <p:extLst>
              <p:ext uri="{D42A27DB-BD31-4B8C-83A1-F6EECF244321}">
                <p14:modId xmlns:p14="http://schemas.microsoft.com/office/powerpoint/2010/main" val="3008327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1" imgW="421" imgH="423" progId="TCLayout.ActiveDocument.1">
                  <p:embed/>
                </p:oleObj>
              </mc:Choice>
              <mc:Fallback>
                <p:oleObj name="think-cell Slide" r:id="rId41" imgW="421" imgH="423" progId="TCLayout.ActiveDocument.1">
                  <p:embed/>
                  <p:pic>
                    <p:nvPicPr>
                      <p:cNvPr id="8" name="Objekti 7" hidden="1">
                        <a:extLst>
                          <a:ext uri="{FF2B5EF4-FFF2-40B4-BE49-F238E27FC236}">
                            <a16:creationId xmlns:a16="http://schemas.microsoft.com/office/drawing/2014/main" id="{99A5D101-E9BB-4459-960C-90D85F6203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8" name="Kuva 27">
            <a:extLst>
              <a:ext uri="{FF2B5EF4-FFF2-40B4-BE49-F238E27FC236}">
                <a16:creationId xmlns:a16="http://schemas.microsoft.com/office/drawing/2014/main" id="{E9A01564-13CB-4203-95FC-74A153B35C14}"/>
              </a:ext>
            </a:extLst>
          </p:cNvPr>
          <p:cNvPicPr>
            <a:picLocks noChangeAspect="1"/>
          </p:cNvPicPr>
          <p:nvPr userDrawn="1"/>
        </p:nvPicPr>
        <p:blipFill>
          <a:blip r:embed="rId4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Otsikon paikkamerkki 1">
            <a:extLst>
              <a:ext uri="{FF2B5EF4-FFF2-40B4-BE49-F238E27FC236}">
                <a16:creationId xmlns:a16="http://schemas.microsoft.com/office/drawing/2014/main" id="{C15BEBDC-D372-439D-BE3F-D0014E9F9A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fi-FI" dirty="0"/>
              <a:t>Muokkaa </a:t>
            </a:r>
            <a:r>
              <a:rPr lang="fi-FI" dirty="0" err="1"/>
              <a:t>ots</a:t>
            </a:r>
            <a:r>
              <a:rPr lang="fi-FI" dirty="0"/>
              <a:t>. </a:t>
            </a:r>
            <a:r>
              <a:rPr lang="fi-FI" dirty="0" err="1"/>
              <a:t>perustyyl</a:t>
            </a:r>
            <a:r>
              <a:rPr lang="fi-FI" dirty="0"/>
              <a:t>. </a:t>
            </a:r>
            <a:r>
              <a:rPr lang="fi-FI" dirty="0" err="1"/>
              <a:t>napsautt</a:t>
            </a:r>
            <a:r>
              <a:rPr lang="fi-FI" dirty="0"/>
              <a:t>.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04B3C6A2-8A7D-4D37-85A3-E38FFE75801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i-FI" dirty="0"/>
              <a:t>Muokkaa tekstin perustyylejä napsauttamalla</a:t>
            </a:r>
          </a:p>
          <a:p>
            <a:pPr lvl="1"/>
            <a:r>
              <a:rPr lang="fi-FI" dirty="0"/>
              <a:t>toinen taso</a:t>
            </a:r>
          </a:p>
          <a:p>
            <a:pPr lvl="2"/>
            <a:r>
              <a:rPr lang="fi-FI" dirty="0"/>
              <a:t>kolmas taso</a:t>
            </a:r>
          </a:p>
          <a:p>
            <a:pPr lvl="3"/>
            <a:r>
              <a:rPr lang="fi-FI" dirty="0"/>
              <a:t>neljäs taso</a:t>
            </a:r>
          </a:p>
        </p:txBody>
      </p:sp>
      <p:sp>
        <p:nvSpPr>
          <p:cNvPr id="4" name="Päivämäärän paikkamerkki 3">
            <a:extLst>
              <a:ext uri="{FF2B5EF4-FFF2-40B4-BE49-F238E27FC236}">
                <a16:creationId xmlns:a16="http://schemas.microsoft.com/office/drawing/2014/main" id="{64B6028D-345E-4983-9377-3B51E8C6D9C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9206113" y="187392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33DB1DC-11BF-4585-868B-306EA823E62F}" type="datetime1">
              <a:rPr lang="fi-FI" smtClean="0"/>
              <a:t>20.3.2025</a:t>
            </a:fld>
            <a:endParaRPr lang="fi-FI" dirty="0"/>
          </a:p>
        </p:txBody>
      </p:sp>
      <p:sp>
        <p:nvSpPr>
          <p:cNvPr id="6" name="Dian numeron paikkamerkki 5">
            <a:extLst>
              <a:ext uri="{FF2B5EF4-FFF2-40B4-BE49-F238E27FC236}">
                <a16:creationId xmlns:a16="http://schemas.microsoft.com/office/drawing/2014/main" id="{7F7B2924-DE79-4005-AE54-8E1CC0EEDC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206113" y="63119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F6B37718-6688-4F18-A3A4-5BFEA6AE51A8}" type="slidenum">
              <a:rPr lang="fi-FI" smtClean="0"/>
              <a:pPr/>
              <a:t>‹#›</a:t>
            </a:fld>
            <a:endParaRPr lang="fi-FI" dirty="0"/>
          </a:p>
        </p:txBody>
      </p:sp>
    </p:spTree>
    <p:extLst>
      <p:ext uri="{BB962C8B-B14F-4D97-AF65-F5344CB8AC3E}">
        <p14:creationId xmlns:p14="http://schemas.microsoft.com/office/powerpoint/2010/main" val="19948807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3" r:id="rId1"/>
    <p:sldLayoutId id="2147483704" r:id="rId2"/>
    <p:sldLayoutId id="2147483674" r:id="rId3"/>
    <p:sldLayoutId id="2147483660" r:id="rId4"/>
    <p:sldLayoutId id="2147483673" r:id="rId5"/>
    <p:sldLayoutId id="2147483649" r:id="rId6"/>
    <p:sldLayoutId id="2147483650" r:id="rId7"/>
    <p:sldLayoutId id="2147483675" r:id="rId8"/>
    <p:sldLayoutId id="2147483652" r:id="rId9"/>
    <p:sldLayoutId id="2147483676" r:id="rId10"/>
    <p:sldLayoutId id="2147483651" r:id="rId11"/>
    <p:sldLayoutId id="2147483679" r:id="rId12"/>
    <p:sldLayoutId id="2147483680" r:id="rId13"/>
    <p:sldLayoutId id="2147483681" r:id="rId14"/>
    <p:sldLayoutId id="2147483682" r:id="rId15"/>
    <p:sldLayoutId id="2147483656" r:id="rId16"/>
    <p:sldLayoutId id="2147483677" r:id="rId17"/>
    <p:sldLayoutId id="2147483678" r:id="rId18"/>
    <p:sldLayoutId id="2147483683" r:id="rId19"/>
    <p:sldLayoutId id="2147483684" r:id="rId20"/>
    <p:sldLayoutId id="2147483685" r:id="rId21"/>
    <p:sldLayoutId id="2147483686" r:id="rId22"/>
    <p:sldLayoutId id="2147483687" r:id="rId23"/>
    <p:sldLayoutId id="2147483688" r:id="rId24"/>
    <p:sldLayoutId id="2147483689" r:id="rId25"/>
    <p:sldLayoutId id="2147483690" r:id="rId26"/>
    <p:sldLayoutId id="2147483691" r:id="rId27"/>
    <p:sldLayoutId id="2147483692" r:id="rId28"/>
    <p:sldLayoutId id="2147483693" r:id="rId29"/>
    <p:sldLayoutId id="2147483694" r:id="rId30"/>
    <p:sldLayoutId id="2147483695" r:id="rId31"/>
    <p:sldLayoutId id="2147483696" r:id="rId32"/>
    <p:sldLayoutId id="2147483697" r:id="rId33"/>
    <p:sldLayoutId id="2147483698" r:id="rId34"/>
    <p:sldLayoutId id="2147483699" r:id="rId35"/>
    <p:sldLayoutId id="2147483702" r:id="rId36"/>
    <p:sldLayoutId id="2147483700" r:id="rId37"/>
    <p:sldLayoutId id="2147483701" r:id="rId38"/>
  </p:sldLayoutIdLst>
  <p:hf hdr="0" ft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fi-FI" sz="3600" b="1" kern="1200" dirty="0" smtClean="0">
          <a:solidFill>
            <a:schemeClr val="bg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i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34.png"/><Relationship Id="rId4" Type="http://schemas.openxmlformats.org/officeDocument/2006/relationships/image" Target="../media/image3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3.png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henkilö&#10;&#10;Kuvaus luotu automaattisesti">
            <a:extLst>
              <a:ext uri="{FF2B5EF4-FFF2-40B4-BE49-F238E27FC236}">
                <a16:creationId xmlns:a16="http://schemas.microsoft.com/office/drawing/2014/main" id="{0ACAD9E6-F15E-0EF5-9B08-E4B58D6FAE7B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695" b="11041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4" name="Kuva 3">
            <a:extLst>
              <a:ext uri="{FF2B5EF4-FFF2-40B4-BE49-F238E27FC236}">
                <a16:creationId xmlns:a16="http://schemas.microsoft.com/office/drawing/2014/main" id="{6E51947E-8BDE-625E-08C0-11F13335CB7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  <p:sp>
        <p:nvSpPr>
          <p:cNvPr id="8" name="Otsikko 1">
            <a:extLst>
              <a:ext uri="{FF2B5EF4-FFF2-40B4-BE49-F238E27FC236}">
                <a16:creationId xmlns:a16="http://schemas.microsoft.com/office/drawing/2014/main" id="{8DB3D291-BE51-A28C-FE34-492CEA93ADB9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21113" y="1785796"/>
            <a:ext cx="5354472" cy="768769"/>
          </a:xfrm>
        </p:spPr>
        <p:txBody>
          <a:bodyPr>
            <a:normAutofit fontScale="90000"/>
          </a:bodyPr>
          <a:lstStyle/>
          <a:p>
            <a:pPr algn="l"/>
            <a:r>
              <a:rPr lang="fi-FI" sz="4400" dirty="0">
                <a:solidFill>
                  <a:schemeClr val="bg1"/>
                </a:solidFill>
              </a:rPr>
              <a:t>Yhteinen leipämme</a:t>
            </a:r>
            <a:br>
              <a:rPr lang="fi-FI" sz="4400" dirty="0">
                <a:solidFill>
                  <a:schemeClr val="bg1"/>
                </a:solidFill>
              </a:rPr>
            </a:br>
            <a:r>
              <a:rPr lang="fi-FI" sz="4400" dirty="0">
                <a:solidFill>
                  <a:schemeClr val="bg1"/>
                </a:solidFill>
              </a:rPr>
              <a:t>- virret kuvilla</a:t>
            </a:r>
          </a:p>
        </p:txBody>
      </p:sp>
      <p:cxnSp>
        <p:nvCxnSpPr>
          <p:cNvPr id="15" name="Suora yhdysviiva 14">
            <a:extLst>
              <a:ext uri="{FF2B5EF4-FFF2-40B4-BE49-F238E27FC236}">
                <a16:creationId xmlns:a16="http://schemas.microsoft.com/office/drawing/2014/main" id="{827F2DCF-7A99-3050-1BE8-72E07399A4C4}"/>
              </a:ext>
            </a:extLst>
          </p:cNvPr>
          <p:cNvCxnSpPr/>
          <p:nvPr/>
        </p:nvCxnSpPr>
        <p:spPr>
          <a:xfrm>
            <a:off x="914761" y="2657590"/>
            <a:ext cx="2838734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Kuva 16">
            <a:extLst>
              <a:ext uri="{FF2B5EF4-FFF2-40B4-BE49-F238E27FC236}">
                <a16:creationId xmlns:a16="http://schemas.microsoft.com/office/drawing/2014/main" id="{984D7A02-F60B-BF21-3D86-04A40F87762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667" t="19755" r="11330" b="22398"/>
          <a:stretch/>
        </p:blipFill>
        <p:spPr>
          <a:xfrm>
            <a:off x="831376" y="2985533"/>
            <a:ext cx="1540852" cy="3916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11112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henkilö, istuminen, vauva&#10;&#10;Kuvaus luotu automaattisesti">
            <a:extLst>
              <a:ext uri="{FF2B5EF4-FFF2-40B4-BE49-F238E27FC236}">
                <a16:creationId xmlns:a16="http://schemas.microsoft.com/office/drawing/2014/main" id="{BA6DE167-7FE2-344B-15B0-CE15042673C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"/>
            <a:ext cx="12192000" cy="9153153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9563100" y="-1"/>
            <a:ext cx="2628900" cy="4521201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Oi Isä meidän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huolen meistä kannat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leipämme meille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joka päivä annat.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Siis lapsen lailla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sinuun luotamme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ja hyvyyteesi, Isä,</a:t>
            </a:r>
          </a:p>
          <a:p>
            <a:pPr algn="l"/>
            <a:r>
              <a:rPr lang="fi-FI" sz="2800" i="1" dirty="0">
                <a:solidFill>
                  <a:schemeClr val="bg1"/>
                </a:solidFill>
                <a:latin typeface="Gabriola" panose="04040605051002020D02" pitchFamily="82" charset="0"/>
              </a:rPr>
              <a:t>turvaamme.</a:t>
            </a:r>
          </a:p>
          <a:p>
            <a:pPr algn="r"/>
            <a:r>
              <a:rPr lang="fi-FI" sz="2800" dirty="0">
                <a:solidFill>
                  <a:schemeClr val="bg1"/>
                </a:solidFill>
                <a:latin typeface="Gabriola" panose="04040605051002020D02" pitchFamily="82" charset="0"/>
              </a:rPr>
              <a:t>Virsi 366:1</a:t>
            </a:r>
            <a:endParaRPr lang="fi-FI" sz="28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275725B5-5910-48BE-E8AC-CC8D255FE07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07761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862761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puu, ulko, ruoho, kasvi&#10;&#10;Kuvaus luotu automaattisesti">
            <a:extLst>
              <a:ext uri="{FF2B5EF4-FFF2-40B4-BE49-F238E27FC236}">
                <a16:creationId xmlns:a16="http://schemas.microsoft.com/office/drawing/2014/main" id="{7D6535BE-A25D-C2B6-32C1-DFC1E00E43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534399" y="0"/>
            <a:ext cx="3657125" cy="51435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un Herra hoita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aimenta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ei silloin mitään puutu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kaitsemasta minua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ei väsy, ei hän suutu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ruokkii taivaan leivällä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 ja elävällä vedellä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virvoittaa sieluani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375:1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87B8470F-4682-40F1-ECB9-F1FE77C4009F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23351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08320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096000" y="702127"/>
            <a:ext cx="5094604" cy="4001152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Jeesus, askeleesi painoit pintaan 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yön ja uupumuksen tulit tuntem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Iloitsit ja itkit, ystäviä h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iinin, ohraleivän syötäväksi sait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län, puutteen m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urruit leivän laill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meille elämäksi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9810759" y="4149043"/>
            <a:ext cx="1379845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17:1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CFE965FD-7C7B-782E-4865-3781699B8D29}"/>
              </a:ext>
            </a:extLst>
          </p:cNvPr>
          <p:cNvSpPr txBox="1">
            <a:spLocks/>
          </p:cNvSpPr>
          <p:nvPr/>
        </p:nvSpPr>
        <p:spPr>
          <a:xfrm>
            <a:off x="1001396" y="702127"/>
            <a:ext cx="3679548" cy="34469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Nälkäisiä auttaisinko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taittaisinko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stäni puolikkaan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ksaisinko muserretu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annistetu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uttaa maasta nousemaan?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6EBC20F0-33E4-9B74-42BD-8F7C17CE75D8}"/>
              </a:ext>
            </a:extLst>
          </p:cNvPr>
          <p:cNvSpPr txBox="1">
            <a:spLocks/>
          </p:cNvSpPr>
          <p:nvPr/>
        </p:nvSpPr>
        <p:spPr>
          <a:xfrm>
            <a:off x="3301099" y="4149043"/>
            <a:ext cx="1379845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>
                <a:latin typeface="Gabriola" panose="04040605051002020D02" pitchFamily="82" charset="0"/>
              </a:rPr>
              <a:t>Virsi 441:4</a:t>
            </a:r>
            <a:endParaRPr lang="fi-FI" sz="3000" dirty="0"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514291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Kuva 4" descr="Kuva, joka sisältää kohteen puu, ulko, henkilö&#10;&#10;Kuvaus luotu automaattisesti">
            <a:extLst>
              <a:ext uri="{FF2B5EF4-FFF2-40B4-BE49-F238E27FC236}">
                <a16:creationId xmlns:a16="http://schemas.microsoft.com/office/drawing/2014/main" id="{44E14E8B-D915-F3EF-0ADF-3F2F49F7005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812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44149" y="0"/>
            <a:ext cx="3547851" cy="29337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rm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issä leipää murretaan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öyhää lasta ruokitaan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erra toimii päällä maan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armossaan ja voimassaan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16:3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6" name="Kuva 5">
            <a:extLst>
              <a:ext uri="{FF2B5EF4-FFF2-40B4-BE49-F238E27FC236}">
                <a16:creationId xmlns:a16="http://schemas.microsoft.com/office/drawing/2014/main" id="{66F4EE47-1BF1-CC07-AD9F-620FF8B82C0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338273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678146" y="1625598"/>
            <a:ext cx="3831817" cy="2329543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Tee uskossa, toivossa työ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leipäsi rauhassa syö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Herrasi armo on myötä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iin murheetta </a:t>
            </a:r>
            <a:r>
              <a:rPr lang="fi-FI" sz="3200" i="1" dirty="0" err="1">
                <a:latin typeface="Gabriola" panose="04040605051002020D02" pitchFamily="82" charset="0"/>
              </a:rPr>
              <a:t>nukkuos</a:t>
            </a:r>
            <a:r>
              <a:rPr lang="fi-FI" sz="3200" i="1" dirty="0">
                <a:latin typeface="Gabriola" panose="04040605051002020D02" pitchFamily="82" charset="0"/>
              </a:rPr>
              <a:t> yö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955991" y="3900713"/>
            <a:ext cx="1553972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521:7a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AD82EE2E-AB6E-B958-628C-1D53C9C8A92B}"/>
              </a:ext>
            </a:extLst>
          </p:cNvPr>
          <p:cNvSpPr txBox="1">
            <a:spLocks/>
          </p:cNvSpPr>
          <p:nvPr/>
        </p:nvSpPr>
        <p:spPr>
          <a:xfrm>
            <a:off x="6682039" y="1625598"/>
            <a:ext cx="2917460" cy="2275115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Taivaan isä meille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eivän lahjoittaa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Vaaroissa hän suoj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on karkottaa.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734E3B0A-F2F6-CDD2-D14D-99819F18178A}"/>
              </a:ext>
            </a:extLst>
          </p:cNvPr>
          <p:cNvSpPr txBox="1">
            <a:spLocks/>
          </p:cNvSpPr>
          <p:nvPr/>
        </p:nvSpPr>
        <p:spPr>
          <a:xfrm>
            <a:off x="8219654" y="3811814"/>
            <a:ext cx="1379845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 dirty="0">
                <a:latin typeface="Gabriola" panose="04040605051002020D02" pitchFamily="82" charset="0"/>
              </a:rPr>
              <a:t>Virsi 494:2</a:t>
            </a:r>
          </a:p>
        </p:txBody>
      </p:sp>
    </p:spTree>
    <p:extLst>
      <p:ext uri="{BB962C8B-B14F-4D97-AF65-F5344CB8AC3E}">
        <p14:creationId xmlns:p14="http://schemas.microsoft.com/office/powerpoint/2010/main" val="2876104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4">
            <a:extLst>
              <a:ext uri="{FF2B5EF4-FFF2-40B4-BE49-F238E27FC236}">
                <a16:creationId xmlns:a16="http://schemas.microsoft.com/office/drawing/2014/main" id="{7DA3A24E-6809-DEE2-E8BA-25824E40313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78" y="0"/>
            <a:ext cx="13400637" cy="8921621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476" y="-17916"/>
            <a:ext cx="3233145" cy="4018416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Rakkaalla läsnäololl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irkasta päivä jokainen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yhästä ehtoollisest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uo ilo ylimaallinen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Leivässä saavu siinäkin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ota me syömme arkisin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65:3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48747578-B045-3AF4-BC7D-5CA3CAF5F4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459095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Kuva 8" descr="Kuva, joka sisältää kohteen ulko, puu, ruoho, kenttä&#10;&#10;Kuvaus luotu automaattisesti">
            <a:extLst>
              <a:ext uri="{FF2B5EF4-FFF2-40B4-BE49-F238E27FC236}">
                <a16:creationId xmlns:a16="http://schemas.microsoft.com/office/drawing/2014/main" id="{D8C025CB-9363-5DAD-A95D-34CB004AD8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9144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705368" y="0"/>
            <a:ext cx="3486157" cy="51943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maahan sateen heitti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oi loistaa auringon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aan siunaukseen peitti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än Isä, luoja on.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e siunaus näin siirtyi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peltoomme, </a:t>
            </a:r>
            <a:r>
              <a:rPr lang="fi-FI" sz="3200" i="1" dirty="0">
                <a:solidFill>
                  <a:srgbClr val="F0F0F0"/>
                </a:solidFill>
                <a:latin typeface="Gabriola" panose="04040605051002020D02" pitchFamily="82" charset="0"/>
              </a:rPr>
              <a:t>leipäämme</a:t>
            </a:r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a Herran hyvyys piirty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 jokaiseen päiväämme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575:2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  <a:p>
            <a:pPr algn="l"/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1" name="Kuva 10">
            <a:extLst>
              <a:ext uri="{FF2B5EF4-FFF2-40B4-BE49-F238E27FC236}">
                <a16:creationId xmlns:a16="http://schemas.microsoft.com/office/drawing/2014/main" id="{370C90DE-9C04-E343-6E06-7D1814D2755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488290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CB6C8B4C-9202-997C-A21E-363E53760D7E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70184" y="1422200"/>
            <a:ext cx="9051631" cy="1009915"/>
          </a:xfrm>
        </p:spPr>
        <p:txBody>
          <a:bodyPr>
            <a:normAutofit fontScale="90000"/>
          </a:bodyPr>
          <a:lstStyle/>
          <a:p>
            <a:r>
              <a:rPr lang="fi-FI" sz="6700" dirty="0">
                <a:latin typeface="Gabriola" panose="04040605051002020D02" pitchFamily="82" charset="0"/>
              </a:rPr>
              <a:t>Jokapäiväinen leipämme:</a:t>
            </a:r>
            <a:endParaRPr lang="fi-FI" dirty="0">
              <a:latin typeface="Gabriola" panose="04040605051002020D02" pitchFamily="82" charset="0"/>
            </a:endParaRPr>
          </a:p>
        </p:txBody>
      </p:sp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570184" y="2597869"/>
            <a:ext cx="9051631" cy="831131"/>
          </a:xfrm>
          <a:prstGeom prst="rect">
            <a:avLst/>
          </a:prstGeom>
        </p:spPr>
        <p:txBody>
          <a:bodyPr vert="horz" lIns="91440" tIns="45720" rIns="91440" bIns="45720" rtlCol="0" anchor="b">
            <a:normAutofit fontScale="97500"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4400" dirty="0">
                <a:latin typeface="Gabriola" panose="04040605051002020D02" pitchFamily="82" charset="0"/>
              </a:rPr>
              <a:t>Jumalan läsnäolo, siunaus ja rukous</a:t>
            </a:r>
            <a:endParaRPr lang="fi-FI" dirty="0"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91106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2">
            <a:extLst>
              <a:ext uri="{FF2B5EF4-FFF2-40B4-BE49-F238E27FC236}">
                <a16:creationId xmlns:a16="http://schemas.microsoft.com/office/drawing/2014/main" id="{6C74A8E0-E5A6-96FA-89E1-10FF87DD540E}"/>
              </a:ext>
            </a:extLst>
          </p:cNvPr>
          <p:cNvSpPr txBox="1">
            <a:spLocks/>
          </p:cNvSpPr>
          <p:nvPr/>
        </p:nvSpPr>
        <p:spPr>
          <a:xfrm>
            <a:off x="1955307" y="2286000"/>
            <a:ext cx="8281386" cy="1491342"/>
          </a:xfrm>
          <a:prstGeom prst="rect">
            <a:avLst/>
          </a:prstGeom>
        </p:spPr>
        <p:txBody>
          <a:bodyPr vert="horz" lIns="91440" tIns="45720" rIns="91440" bIns="45720" rtlCol="0" anchor="b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fi-FI" sz="3200" dirty="0">
                <a:latin typeface="Gabriola" panose="04040605051002020D02" pitchFamily="82" charset="0"/>
              </a:rPr>
              <a:t>Lisää Raamatun leivän moninaisia makuja ja käyttötarkoituksia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löytyy rovasti Pekka </a:t>
            </a:r>
            <a:r>
              <a:rPr lang="fi-FI" sz="3200" dirty="0" err="1">
                <a:latin typeface="Gabriola" panose="04040605051002020D02" pitchFamily="82" charset="0"/>
              </a:rPr>
              <a:t>Harnen</a:t>
            </a:r>
            <a:r>
              <a:rPr lang="fi-FI" sz="3200" dirty="0">
                <a:latin typeface="Gabriola" panose="04040605051002020D02" pitchFamily="82" charset="0"/>
              </a:rPr>
              <a:t> teoksesta </a:t>
            </a:r>
            <a:r>
              <a:rPr lang="fi-FI" sz="3200" i="1" dirty="0">
                <a:latin typeface="Gabriola" panose="04040605051002020D02" pitchFamily="82" charset="0"/>
              </a:rPr>
              <a:t>Murrettua leipää </a:t>
            </a:r>
          </a:p>
          <a:p>
            <a:r>
              <a:rPr lang="fi-FI" sz="3200" dirty="0">
                <a:latin typeface="Gabriola" panose="04040605051002020D02" pitchFamily="82" charset="0"/>
              </a:rPr>
              <a:t>(Suomen Lähetysseura 2006)</a:t>
            </a:r>
          </a:p>
        </p:txBody>
      </p:sp>
    </p:spTree>
    <p:extLst>
      <p:ext uri="{BB962C8B-B14F-4D97-AF65-F5344CB8AC3E}">
        <p14:creationId xmlns:p14="http://schemas.microsoft.com/office/powerpoint/2010/main" val="30854559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6C66CB21-53C0-D442-CD72-200E1F609901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402006" y="2226771"/>
            <a:ext cx="7301552" cy="2713718"/>
          </a:xfrm>
          <a:effectLst/>
        </p:spPr>
        <p:txBody>
          <a:bodyPr>
            <a:noAutofit/>
          </a:bodyPr>
          <a:lstStyle/>
          <a:p>
            <a:r>
              <a:rPr lang="fi-FI" sz="4400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otta maailma olisi oikeudenmukaisempi, valoisampi ja lempeämpi</a:t>
            </a:r>
            <a:endParaRPr lang="fi-FI" sz="4400" dirty="0"/>
          </a:p>
        </p:txBody>
      </p:sp>
      <p:sp>
        <p:nvSpPr>
          <p:cNvPr id="4" name="Otsikko 3">
            <a:extLst>
              <a:ext uri="{FF2B5EF4-FFF2-40B4-BE49-F238E27FC236}">
                <a16:creationId xmlns:a16="http://schemas.microsoft.com/office/drawing/2014/main" id="{F5D1C075-D6F7-25DC-430B-21DC896AFA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15150" y="859811"/>
            <a:ext cx="8591589" cy="1310185"/>
          </a:xfrm>
          <a:effectLst/>
        </p:spPr>
        <p:txBody>
          <a:bodyPr>
            <a:noAutofit/>
          </a:bodyPr>
          <a:lstStyle/>
          <a:p>
            <a:r>
              <a:rPr lang="fi-FI" sz="6600" dirty="0">
                <a:latin typeface="Calibri" panose="020F0502020204030204" pitchFamily="34" charset="0"/>
                <a:cs typeface="Calibri" panose="020F0502020204030204" pitchFamily="34" charset="0"/>
              </a:rPr>
              <a:t>TASAUS,</a:t>
            </a:r>
          </a:p>
        </p:txBody>
      </p:sp>
    </p:spTree>
    <p:extLst>
      <p:ext uri="{BB962C8B-B14F-4D97-AF65-F5344CB8AC3E}">
        <p14:creationId xmlns:p14="http://schemas.microsoft.com/office/powerpoint/2010/main" val="196744321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A121DF19-0DBF-4553-FFA4-41C7D222FF8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2274403" y="1414973"/>
            <a:ext cx="7643194" cy="3320311"/>
          </a:xfrm>
        </p:spPr>
        <p:txBody>
          <a:bodyPr>
            <a:normAutofit/>
          </a:bodyPr>
          <a:lstStyle/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Virsiä voi laulaa arjen ja juhlan hetkissä, </a:t>
            </a:r>
          </a:p>
          <a:p>
            <a:pPr algn="l"/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in omassa rukoushetkessä kuin yhdessä muiden kanssa:</a:t>
            </a:r>
          </a:p>
          <a:p>
            <a:pPr algn="l"/>
            <a:endParaRPr lang="fi-FI" sz="24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Raamattupiirit, lähetyspiirit, aikuisten kokoontumise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Jumalanpalvelukse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sten kerhot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uortenillat, isoskoulutus</a:t>
            </a:r>
          </a:p>
          <a:p>
            <a:pPr marL="800100" lvl="1" indent="-342900" algn="l">
              <a:buFont typeface="Arial" panose="020B0604020202020204" pitchFamily="34" charset="0"/>
              <a:buChar char="•"/>
            </a:pPr>
            <a:r>
              <a:rPr lang="fi-FI" sz="24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eirit, retket</a:t>
            </a:r>
          </a:p>
        </p:txBody>
      </p:sp>
      <p:sp>
        <p:nvSpPr>
          <p:cNvPr id="2" name="Otsikko 1">
            <a:extLst>
              <a:ext uri="{FF2B5EF4-FFF2-40B4-BE49-F238E27FC236}">
                <a16:creationId xmlns:a16="http://schemas.microsoft.com/office/drawing/2014/main" id="{C2D1A1B9-54F9-AEB7-A30A-25ACA24170F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0427" y="614963"/>
            <a:ext cx="9151146" cy="658666"/>
          </a:xfrm>
        </p:spPr>
        <p:txBody>
          <a:bodyPr>
            <a:normAutofit/>
          </a:bodyPr>
          <a:lstStyle/>
          <a:p>
            <a:r>
              <a:rPr lang="fi-FI" dirty="0"/>
              <a:t>Virret</a:t>
            </a:r>
          </a:p>
        </p:txBody>
      </p:sp>
    </p:spTree>
    <p:extLst>
      <p:ext uri="{BB962C8B-B14F-4D97-AF65-F5344CB8AC3E}">
        <p14:creationId xmlns:p14="http://schemas.microsoft.com/office/powerpoint/2010/main" val="36440736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A group of flowers in front of a building&#10;&#10;Description automatically generated with low confidence">
            <a:extLst>
              <a:ext uri="{FF2B5EF4-FFF2-40B4-BE49-F238E27FC236}">
                <a16:creationId xmlns:a16="http://schemas.microsoft.com/office/drawing/2014/main" id="{82365F0D-E8D7-B1B4-7223-FA5D510E971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4487" y="-710077"/>
            <a:ext cx="12192000" cy="763571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59498" y="0"/>
            <a:ext cx="3532502" cy="51816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äskit meidät maailma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viljellä ja varjell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työhön tähän antama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anna meidän taipua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iittäen suo antejasi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eidän täällä nautti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oikein käyttää lahjojasi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uule meitä, Jumala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391:9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5" name="Kuva 4">
            <a:extLst>
              <a:ext uri="{FF2B5EF4-FFF2-40B4-BE49-F238E27FC236}">
                <a16:creationId xmlns:a16="http://schemas.microsoft.com/office/drawing/2014/main" id="{7B34EA31-8EDE-BF11-B11D-1BF84647FCB8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4487" y="4778282"/>
            <a:ext cx="12187513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916318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018661" y="1219201"/>
            <a:ext cx="4154678" cy="3461657"/>
          </a:xfrm>
        </p:spPr>
        <p:txBody>
          <a:bodyPr>
            <a:norm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yös toisiin kristittyihin liittä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yhteinen leipä meidätk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Ruumiisi jäseninä kiittä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inua saamme, armoisi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yt yksi leipä meille suod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henki yksi meihin luodaa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776718" y="4680858"/>
            <a:ext cx="1396621" cy="554235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20:5</a:t>
            </a:r>
          </a:p>
        </p:txBody>
      </p:sp>
    </p:spTree>
    <p:extLst>
      <p:ext uri="{BB962C8B-B14F-4D97-AF65-F5344CB8AC3E}">
        <p14:creationId xmlns:p14="http://schemas.microsoft.com/office/powerpoint/2010/main" val="252218636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A group of people preparing food&#10;&#10;Description automatically generated with medium confidence">
            <a:extLst>
              <a:ext uri="{FF2B5EF4-FFF2-40B4-BE49-F238E27FC236}">
                <a16:creationId xmlns:a16="http://schemas.microsoft.com/office/drawing/2014/main" id="{61B24394-5CD0-7803-5EBD-9B5E2D45583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-1270000"/>
            <a:ext cx="12192000" cy="8128000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1" y="0"/>
            <a:ext cx="2641655" cy="403860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Nyt keskenänne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yös leipä jakakaa,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ihminen ihmiseltä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Jumalan lahjat saa.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iis keskenänne 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yös leipä jakakaa.</a:t>
            </a:r>
          </a:p>
          <a:p>
            <a:pPr algn="l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12:5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7" name="Kuva 6">
            <a:extLst>
              <a:ext uri="{FF2B5EF4-FFF2-40B4-BE49-F238E27FC236}">
                <a16:creationId xmlns:a16="http://schemas.microsoft.com/office/drawing/2014/main" id="{02063764-5A6A-C271-63CE-B71E37128137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11034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078520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476973" y="511629"/>
            <a:ext cx="3238053" cy="4147457"/>
          </a:xfrm>
        </p:spPr>
        <p:txBody>
          <a:bodyPr>
            <a:normAutofit lnSpcReduction="10000"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Maan sato elon aikaan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pelloilta korjataan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jyvät yhteen liittyy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un leipä leivotaa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Näin, Herra, yhteen lii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sydämet kaikkien.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Luo kirkkoon yksi sielu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ja rauha taivainen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397550" y="4659086"/>
            <a:ext cx="1317476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231:1</a:t>
            </a:r>
          </a:p>
        </p:txBody>
      </p:sp>
    </p:spTree>
    <p:extLst>
      <p:ext uri="{BB962C8B-B14F-4D97-AF65-F5344CB8AC3E}">
        <p14:creationId xmlns:p14="http://schemas.microsoft.com/office/powerpoint/2010/main" val="122438238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Kuva 3" descr="Kuva, joka sisältää kohteen henkilö, henkilöt, useat, väkijoukko&#10;&#10;Kuvaus luotu automaattisesti">
            <a:extLst>
              <a:ext uri="{FF2B5EF4-FFF2-40B4-BE49-F238E27FC236}">
                <a16:creationId xmlns:a16="http://schemas.microsoft.com/office/drawing/2014/main" id="{9E9D91C3-E297-8743-5ABF-636228C8EC3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" y="-1269681"/>
            <a:ext cx="12191524" cy="812768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-475" y="0"/>
            <a:ext cx="3809525" cy="214525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Kaikki katsovat sinua, Herra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illä sinä annat meille ruokamme ajallaan.</a:t>
            </a:r>
          </a:p>
          <a:p>
            <a:pPr algn="r"/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473:1a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  <p:pic>
        <p:nvPicPr>
          <p:cNvPr id="10" name="Kuva 9">
            <a:extLst>
              <a:ext uri="{FF2B5EF4-FFF2-40B4-BE49-F238E27FC236}">
                <a16:creationId xmlns:a16="http://schemas.microsoft.com/office/drawing/2014/main" id="{48747578-B045-3AF4-BC7D-5CA3CAF5F430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-475" y="4730666"/>
            <a:ext cx="12192000" cy="24948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407925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Kuva 6" descr="Kuva, joka sisältää kohteen taivas, ulko, lentävä, taso&#10;&#10;Kuvaus luotu automaattisesti">
            <a:extLst>
              <a:ext uri="{FF2B5EF4-FFF2-40B4-BE49-F238E27FC236}">
                <a16:creationId xmlns:a16="http://schemas.microsoft.com/office/drawing/2014/main" id="{51AB0A91-931A-AF3F-03AA-FF65E5B05AB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6166746"/>
          </a:xfrm>
          <a:prstGeom prst="rect">
            <a:avLst/>
          </a:prstGeom>
        </p:spPr>
      </p:pic>
      <p:pic>
        <p:nvPicPr>
          <p:cNvPr id="8" name="Kuva 7">
            <a:extLst>
              <a:ext uri="{FF2B5EF4-FFF2-40B4-BE49-F238E27FC236}">
                <a16:creationId xmlns:a16="http://schemas.microsoft.com/office/drawing/2014/main" id="{B794F3E0-4A7F-F8DE-AACB-1A9B6D707B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5919"/>
          <a:stretch/>
        </p:blipFill>
        <p:spPr>
          <a:xfrm>
            <a:off x="0" y="4707761"/>
            <a:ext cx="12192000" cy="2494802"/>
          </a:xfrm>
          <a:prstGeom prst="rect">
            <a:avLst/>
          </a:prstGeom>
        </p:spPr>
      </p:pic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7245828" y="3824038"/>
            <a:ext cx="4946171" cy="2308920"/>
          </a:xfrm>
          <a:gradFill flip="none" rotWithShape="1">
            <a:gsLst>
              <a:gs pos="0">
                <a:srgbClr val="117AA6">
                  <a:shade val="30000"/>
                  <a:satMod val="115000"/>
                </a:srgbClr>
              </a:gs>
              <a:gs pos="50000">
                <a:srgbClr val="117AA6">
                  <a:shade val="67500"/>
                  <a:satMod val="115000"/>
                </a:srgbClr>
              </a:gs>
              <a:gs pos="100000">
                <a:srgbClr val="117AA6">
                  <a:shade val="100000"/>
                  <a:satMod val="115000"/>
                </a:srgbClr>
              </a:gs>
            </a:gsLst>
            <a:lin ang="2700000" scaled="1"/>
            <a:tileRect/>
          </a:gradFill>
        </p:spPr>
        <p:txBody>
          <a:bodyPr>
            <a:noAutofit/>
          </a:bodyPr>
          <a:lstStyle/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Leipää taivaasta tuot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meille itsesi annat.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Sanasta elämän voimaa jaat,</a:t>
            </a:r>
          </a:p>
          <a:p>
            <a:pPr algn="l"/>
            <a:r>
              <a:rPr lang="fi-FI" sz="3200" i="1" dirty="0">
                <a:solidFill>
                  <a:schemeClr val="bg1"/>
                </a:solidFill>
                <a:latin typeface="Gabriola" panose="04040605051002020D02" pitchFamily="82" charset="0"/>
              </a:rPr>
              <a:t>halki kuoleman kannat.        </a:t>
            </a:r>
            <a:r>
              <a:rPr lang="fi-FI" sz="3200" dirty="0">
                <a:solidFill>
                  <a:schemeClr val="bg1"/>
                </a:solidFill>
                <a:latin typeface="Gabriola" panose="04040605051002020D02" pitchFamily="82" charset="0"/>
              </a:rPr>
              <a:t>Virsi 59:2</a:t>
            </a:r>
            <a:endParaRPr lang="fi-FI" sz="3200" i="1" dirty="0">
              <a:solidFill>
                <a:schemeClr val="bg1"/>
              </a:solidFill>
              <a:latin typeface="Gabriola" panose="04040605051002020D02" pitchFamily="8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2001993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laotsikko 1">
            <a:extLst>
              <a:ext uri="{FF2B5EF4-FFF2-40B4-BE49-F238E27FC236}">
                <a16:creationId xmlns:a16="http://schemas.microsoft.com/office/drawing/2014/main" id="{C9CF11D9-B5E9-F9AE-5832-DEC62F9B547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922647" y="1381338"/>
            <a:ext cx="3472971" cy="2308920"/>
          </a:xfrm>
        </p:spPr>
        <p:txBody>
          <a:bodyPr>
            <a:noAutofit/>
          </a:bodyPr>
          <a:lstStyle/>
          <a:p>
            <a:pPr algn="l"/>
            <a:r>
              <a:rPr lang="fi-FI" sz="3200" i="1" dirty="0">
                <a:latin typeface="Gabriola" panose="04040605051002020D02" pitchFamily="82" charset="0"/>
              </a:rPr>
              <a:t>Sanan valon anna pais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aikki kansat tavoittaa,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ttä kaukaisinkin mais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armon uutisleipää saa.</a:t>
            </a:r>
          </a:p>
        </p:txBody>
      </p:sp>
      <p:sp>
        <p:nvSpPr>
          <p:cNvPr id="3" name="Otsikko 2">
            <a:extLst>
              <a:ext uri="{FF2B5EF4-FFF2-40B4-BE49-F238E27FC236}">
                <a16:creationId xmlns:a16="http://schemas.microsoft.com/office/drawing/2014/main" id="{CA9708A1-B017-9168-5338-4A07331D7346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102858" y="3689324"/>
            <a:ext cx="1292759" cy="554236"/>
          </a:xfrm>
        </p:spPr>
        <p:txBody>
          <a:bodyPr>
            <a:normAutofit/>
          </a:bodyPr>
          <a:lstStyle/>
          <a:p>
            <a:pPr algn="l"/>
            <a:r>
              <a:rPr lang="fi-FI" sz="3000" dirty="0">
                <a:latin typeface="Gabriola" panose="04040605051002020D02" pitchFamily="82" charset="0"/>
              </a:rPr>
              <a:t>Virsi 46:6</a:t>
            </a:r>
          </a:p>
        </p:txBody>
      </p:sp>
      <p:sp>
        <p:nvSpPr>
          <p:cNvPr id="4" name="Alaotsikko 1">
            <a:extLst>
              <a:ext uri="{FF2B5EF4-FFF2-40B4-BE49-F238E27FC236}">
                <a16:creationId xmlns:a16="http://schemas.microsoft.com/office/drawing/2014/main" id="{6795D390-B012-8588-1F65-FB44039E26AB}"/>
              </a:ext>
            </a:extLst>
          </p:cNvPr>
          <p:cNvSpPr txBox="1">
            <a:spLocks/>
          </p:cNvSpPr>
          <p:nvPr/>
        </p:nvSpPr>
        <p:spPr>
          <a:xfrm>
            <a:off x="6796384" y="1381339"/>
            <a:ext cx="3418542" cy="230892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i-FI" sz="3200" i="1" dirty="0">
                <a:latin typeface="Gabriola" panose="04040605051002020D02" pitchFamily="82" charset="0"/>
              </a:rPr>
              <a:t>Leipää merien taa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eikö kaikille yllä?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Kristityt, Isämme leivästä</a:t>
            </a:r>
          </a:p>
          <a:p>
            <a:pPr algn="l"/>
            <a:r>
              <a:rPr lang="fi-FI" sz="3200" i="1" dirty="0">
                <a:latin typeface="Gabriola" panose="04040605051002020D02" pitchFamily="82" charset="0"/>
              </a:rPr>
              <a:t>heille riittäisi kyllä!</a:t>
            </a:r>
          </a:p>
        </p:txBody>
      </p:sp>
      <p:sp>
        <p:nvSpPr>
          <p:cNvPr id="5" name="Otsikko 2">
            <a:extLst>
              <a:ext uri="{FF2B5EF4-FFF2-40B4-BE49-F238E27FC236}">
                <a16:creationId xmlns:a16="http://schemas.microsoft.com/office/drawing/2014/main" id="{DFC68E7E-4DF1-5065-E2C0-E766608E1A70}"/>
              </a:ext>
            </a:extLst>
          </p:cNvPr>
          <p:cNvSpPr txBox="1">
            <a:spLocks/>
          </p:cNvSpPr>
          <p:nvPr/>
        </p:nvSpPr>
        <p:spPr>
          <a:xfrm>
            <a:off x="8922167" y="3689324"/>
            <a:ext cx="1292759" cy="55423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fi-FI" sz="4000" b="1" kern="1200">
                <a:solidFill>
                  <a:schemeClr val="accent3">
                    <a:lumMod val="75000"/>
                  </a:schemeClr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pPr algn="l"/>
            <a:r>
              <a:rPr lang="fi-FI" sz="3000" dirty="0">
                <a:latin typeface="Gabriola" panose="04040605051002020D02" pitchFamily="82" charset="0"/>
              </a:rPr>
              <a:t>Virsi 59:4</a:t>
            </a:r>
          </a:p>
        </p:txBody>
      </p:sp>
    </p:spTree>
    <p:extLst>
      <p:ext uri="{BB962C8B-B14F-4D97-AF65-F5344CB8AC3E}">
        <p14:creationId xmlns:p14="http://schemas.microsoft.com/office/powerpoint/2010/main" val="14040742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ema">
  <a:themeElements>
    <a:clrScheme name="Suomen Lähetysseura">
      <a:dk1>
        <a:srgbClr val="0C0C0C"/>
      </a:dk1>
      <a:lt1>
        <a:srgbClr val="FFFFFF"/>
      </a:lt1>
      <a:dk2>
        <a:srgbClr val="F53246"/>
      </a:dk2>
      <a:lt2>
        <a:srgbClr val="E7E6E6"/>
      </a:lt2>
      <a:accent1>
        <a:srgbClr val="F53246"/>
      </a:accent1>
      <a:accent2>
        <a:srgbClr val="90397B"/>
      </a:accent2>
      <a:accent3>
        <a:srgbClr val="1179A6"/>
      </a:accent3>
      <a:accent4>
        <a:srgbClr val="93CB81"/>
      </a:accent4>
      <a:accent5>
        <a:srgbClr val="F3DF0E"/>
      </a:accent5>
      <a:accent6>
        <a:srgbClr val="FBAFB6"/>
      </a:accent6>
      <a:hlink>
        <a:srgbClr val="0C5272"/>
      </a:hlink>
      <a:folHlink>
        <a:srgbClr val="FBAFB6"/>
      </a:folHlink>
    </a:clrScheme>
    <a:fontScheme name="Mukautettu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ähetysseura_16-9_FIN_malli" id="{96B25E20-5BB7-4816-A895-B7AD00EE9CEC}" vid="{882246F9-928B-42F2-A3E3-31DC8D9B27D3}"/>
    </a:ext>
  </a:extLst>
</a:theme>
</file>

<file path=ppt/theme/theme2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-te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465</TotalTime>
  <Words>650</Words>
  <Application>Microsoft Office PowerPoint</Application>
  <PresentationFormat>Laajakuva</PresentationFormat>
  <Paragraphs>150</Paragraphs>
  <Slides>19</Slides>
  <Notes>10</Notes>
  <HiddenSlides>0</HiddenSlides>
  <MMClips>0</MMClips>
  <ScaleCrop>false</ScaleCrop>
  <HeadingPairs>
    <vt:vector size="8" baseType="variant">
      <vt:variant>
        <vt:lpstr>Käytetyt fontit</vt:lpstr>
      </vt:variant>
      <vt:variant>
        <vt:i4>4</vt:i4>
      </vt:variant>
      <vt:variant>
        <vt:lpstr>Teema</vt:lpstr>
      </vt:variant>
      <vt:variant>
        <vt:i4>1</vt:i4>
      </vt:variant>
      <vt:variant>
        <vt:lpstr>Upotetut OLE-palvelimet</vt:lpstr>
      </vt:variant>
      <vt:variant>
        <vt:i4>1</vt:i4>
      </vt:variant>
      <vt:variant>
        <vt:lpstr>Dian otsikot</vt:lpstr>
      </vt:variant>
      <vt:variant>
        <vt:i4>19</vt:i4>
      </vt:variant>
    </vt:vector>
  </HeadingPairs>
  <TitlesOfParts>
    <vt:vector size="25" baseType="lpstr">
      <vt:lpstr>-apple-system</vt:lpstr>
      <vt:lpstr>Arial</vt:lpstr>
      <vt:lpstr>Calibri</vt:lpstr>
      <vt:lpstr>Gabriola</vt:lpstr>
      <vt:lpstr>Office-teema</vt:lpstr>
      <vt:lpstr>think-cell Slide</vt:lpstr>
      <vt:lpstr>Yhteinen leipämme - virret kuvilla</vt:lpstr>
      <vt:lpstr>Virret</vt:lpstr>
      <vt:lpstr>PowerPoint-esitys</vt:lpstr>
      <vt:lpstr>Virsi 220:5</vt:lpstr>
      <vt:lpstr>PowerPoint-esitys</vt:lpstr>
      <vt:lpstr>Virsi 231:1</vt:lpstr>
      <vt:lpstr>PowerPoint-esitys</vt:lpstr>
      <vt:lpstr>PowerPoint-esitys</vt:lpstr>
      <vt:lpstr>Virsi 46:6</vt:lpstr>
      <vt:lpstr>PowerPoint-esitys</vt:lpstr>
      <vt:lpstr>PowerPoint-esitys</vt:lpstr>
      <vt:lpstr>Virsi 417:1</vt:lpstr>
      <vt:lpstr>PowerPoint-esitys</vt:lpstr>
      <vt:lpstr>Virsi 521:7a</vt:lpstr>
      <vt:lpstr>PowerPoint-esitys</vt:lpstr>
      <vt:lpstr>PowerPoint-esitys</vt:lpstr>
      <vt:lpstr>Jokapäiväinen leipämme:</vt:lpstr>
      <vt:lpstr>PowerPoint-esitys</vt:lpstr>
      <vt:lpstr>TASAUS,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esitys</dc:title>
  <dc:creator>Peltonen Anna</dc:creator>
  <cp:lastModifiedBy>Honkanen Nina</cp:lastModifiedBy>
  <cp:revision>177</cp:revision>
  <dcterms:created xsi:type="dcterms:W3CDTF">2021-03-29T12:00:14Z</dcterms:created>
  <dcterms:modified xsi:type="dcterms:W3CDTF">2025-03-20T07:58:37Z</dcterms:modified>
</cp:coreProperties>
</file>